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6"/>
  </p:sldMasterIdLst>
  <p:notesMasterIdLst>
    <p:notesMasterId r:id="rId16"/>
  </p:notesMasterIdLst>
  <p:sldIdLst>
    <p:sldId id="275" r:id="rId7"/>
    <p:sldId id="332" r:id="rId8"/>
    <p:sldId id="340" r:id="rId9"/>
    <p:sldId id="335" r:id="rId10"/>
    <p:sldId id="331" r:id="rId11"/>
    <p:sldId id="336" r:id="rId12"/>
    <p:sldId id="337" r:id="rId13"/>
    <p:sldId id="333" r:id="rId14"/>
    <p:sldId id="339" r:id="rId15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Titel- und Trennerfolien" id="{2E54794A-1C70-4055-BA0C-047E9C8E06B2}">
          <p14:sldIdLst>
            <p14:sldId id="275"/>
          </p14:sldIdLst>
        </p14:section>
        <p14:section name="Inhalt" id="{9143C095-ADCB-48C6-BBF9-4399ACA44AAA}">
          <p14:sldIdLst>
            <p14:sldId id="332"/>
            <p14:sldId id="340"/>
            <p14:sldId id="335"/>
            <p14:sldId id="331"/>
            <p14:sldId id="336"/>
            <p14:sldId id="337"/>
            <p14:sldId id="333"/>
            <p14:sldId id="339"/>
          </p14:sldIdLst>
        </p14:section>
      </p14:sectionLst>
    </p:ext>
    <p:ext uri="{EFAFB233-063F-42B5-8137-9DF3F51BA10A}">
      <p15:sldGuideLst xmlns:p15="http://schemas.microsoft.com/office/powerpoint/2012/main">
        <p15:guide id="3" pos="3817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884" userDrawn="1">
          <p15:clr>
            <a:srgbClr val="A4A3A4"/>
          </p15:clr>
        </p15:guide>
        <p15:guide id="6" orient="horz" pos="1865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orient="horz" pos="19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748394"/>
    <a:srgbClr val="C8D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693" autoAdjust="0"/>
    <p:restoredTop sz="89620" autoAdjust="0"/>
  </p:normalViewPr>
  <p:slideViewPr>
    <p:cSldViewPr snapToGrid="0" showGuides="1">
      <p:cViewPr varScale="1">
        <p:scale>
          <a:sx n="134" d="100"/>
          <a:sy n="134" d="100"/>
        </p:scale>
        <p:origin x="192" y="368"/>
      </p:cViewPr>
      <p:guideLst>
        <p:guide pos="3817"/>
        <p:guide orient="horz" pos="1117"/>
        <p:guide orient="horz" pos="3884"/>
        <p:guide orient="horz" pos="1865"/>
        <p:guide orient="horz" pos="2931"/>
        <p:guide orient="horz" pos="3793"/>
        <p:guide orient="horz" pos="19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55D82-92B1-4EBA-AF01-9D30101EF318}" type="datetimeFigureOut">
              <a:rPr lang="de-DE" smtClean="0"/>
              <a:t>17.09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0D3910-EA15-4AD1-B5F5-16783FD382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77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301831" y="1701098"/>
            <a:ext cx="8428324" cy="1439862"/>
          </a:xfrm>
          <a:prstGeom prst="rect">
            <a:avLst/>
          </a:prstGeom>
        </p:spPr>
        <p:txBody>
          <a:bodyPr bIns="0">
            <a:noAutofit/>
          </a:bodyPr>
          <a:lstStyle>
            <a:lvl1pPr>
              <a:defRPr sz="4923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311032" y="3356991"/>
            <a:ext cx="8428322" cy="158489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969" b="0">
                <a:solidFill>
                  <a:schemeClr val="tx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4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1"/>
            <a:ext cx="3713524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7593376" cy="56034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877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1"/>
            <a:ext cx="3715113" cy="56085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102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48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5" hasCustomPrompt="1"/>
          </p:nvPr>
        </p:nvSpPr>
        <p:spPr>
          <a:xfrm>
            <a:off x="344139" y="884238"/>
            <a:ext cx="11506201" cy="5613761"/>
          </a:xfrm>
          <a:prstGeom prst="rect">
            <a:avLst/>
          </a:prstGeom>
          <a:pattFill prst="wdUpDiag">
            <a:fgClr>
              <a:schemeClr val="tx2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6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32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3674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5654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95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2"/>
              </a:buClr>
              <a:defRPr lang="de-DE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nformationen zur Modeling Guide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1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360000" y="884238"/>
            <a:ext cx="11469600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2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536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3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07073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9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80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475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0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93999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21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105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5600" y="5491987"/>
            <a:ext cx="11482388" cy="10008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648000" tIns="216000" rIns="288000" bIns="216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13503" y="5815987"/>
            <a:ext cx="1008000" cy="360000"/>
          </a:xfrm>
          <a:prstGeom prst="triangle">
            <a:avLst/>
          </a:prstGeom>
          <a:solidFill>
            <a:srgbClr val="ADC22D"/>
          </a:solidFill>
          <a:ln w="571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 dirty="0"/>
              <a:t> .</a:t>
            </a:r>
            <a:endParaRPr lang="en-US" dirty="0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5" name="Titelplatzhalter 6"/>
          <p:cNvSpPr>
            <a:spLocks noGrp="1"/>
          </p:cNvSpPr>
          <p:nvPr>
            <p:ph type="title" hasCustomPrompt="1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Überschrift (24pt)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683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0021278" y="6586538"/>
            <a:ext cx="104530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985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endParaRPr lang="de-DE" sz="2215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" name="Rectangle 130"/>
          <p:cNvSpPr>
            <a:spLocks noChangeArrowheads="1"/>
          </p:cNvSpPr>
          <p:nvPr/>
        </p:nvSpPr>
        <p:spPr bwMode="gray">
          <a:xfrm>
            <a:off x="9650107" y="6586538"/>
            <a:ext cx="1577058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 dirty="0">
                <a:solidFill>
                  <a:schemeClr val="accent2"/>
                </a:solidFill>
                <a:latin typeface="+mn-lt"/>
                <a:cs typeface="+mn-cs"/>
              </a:rPr>
              <a:t> © Smart Mechatronics</a:t>
            </a:r>
            <a:endParaRPr lang="de-DE" sz="160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  <p:sp>
        <p:nvSpPr>
          <p:cNvPr id="14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127667" cy="428625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Informationen zur Modeling Guideline</a:t>
            </a:r>
            <a:endParaRPr lang="de-DE" dirty="0"/>
          </a:p>
        </p:txBody>
      </p:sp>
      <p:sp>
        <p:nvSpPr>
          <p:cNvPr id="12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r>
              <a:rPr lang="de-DE"/>
              <a:t>10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245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5pPr>
      <a:lvl6pPr marL="56272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6pPr>
      <a:lvl7pPr marL="112544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7pPr>
      <a:lvl8pPr marL="168816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8pPr>
      <a:lvl9pPr marL="225088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 3" pitchFamily="18" charset="2"/>
        <a:buChar char="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Wingdings" pitchFamily="2" charset="2"/>
        <a:buChar char="§"/>
        <a:tabLst>
          <a:tab pos="1522413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7188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8775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tx2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110000"/>
        </a:lnSpc>
        <a:spcBef>
          <a:spcPts val="862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3">
          <p15:clr>
            <a:srgbClr val="F26B43"/>
          </p15:clr>
        </p15:guide>
        <p15:guide id="2" pos="224">
          <p15:clr>
            <a:srgbClr val="F26B43"/>
          </p15:clr>
        </p15:guide>
        <p15:guide id="3" pos="7457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4090">
          <p15:clr>
            <a:srgbClr val="F26B43"/>
          </p15:clr>
        </p15:guide>
        <p15:guide id="6" orient="horz" pos="5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21" r="1262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1"/>
          <p:cNvSpPr/>
          <p:nvPr/>
        </p:nvSpPr>
        <p:spPr>
          <a:xfrm>
            <a:off x="-17357" y="3591427"/>
            <a:ext cx="6605771" cy="2148269"/>
          </a:xfrm>
          <a:custGeom>
            <a:avLst/>
            <a:gdLst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80621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520464 w 9806214"/>
              <a:gd name="connsiteY2" fmla="*/ 3227896 h 3227896"/>
              <a:gd name="connsiteX3" fmla="*/ 0 w 9806214"/>
              <a:gd name="connsiteY3" fmla="*/ 3227896 h 3227896"/>
              <a:gd name="connsiteX4" fmla="*/ 0 w 9806214"/>
              <a:gd name="connsiteY4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20464 w 9806214"/>
              <a:gd name="connsiteY3" fmla="*/ 3227896 h 3227896"/>
              <a:gd name="connsiteX4" fmla="*/ 0 w 9806214"/>
              <a:gd name="connsiteY4" fmla="*/ 3227896 h 3227896"/>
              <a:gd name="connsiteX5" fmla="*/ 0 w 9806214"/>
              <a:gd name="connsiteY5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9563100 w 9806214"/>
              <a:gd name="connsiteY3" fmla="*/ 2812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95204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9806214"/>
              <a:gd name="connsiteY0" fmla="*/ 0 h 3227896"/>
              <a:gd name="connsiteX1" fmla="*/ 9806214 w 9806214"/>
              <a:gd name="connsiteY1" fmla="*/ 0 h 3227896"/>
              <a:gd name="connsiteX2" fmla="*/ 9677400 w 9806214"/>
              <a:gd name="connsiteY2" fmla="*/ 1643983 h 3227896"/>
              <a:gd name="connsiteX3" fmla="*/ 8318500 w 9806214"/>
              <a:gd name="connsiteY3" fmla="*/ 1669383 h 3227896"/>
              <a:gd name="connsiteX4" fmla="*/ 8199664 w 9806214"/>
              <a:gd name="connsiteY4" fmla="*/ 3227896 h 3227896"/>
              <a:gd name="connsiteX5" fmla="*/ 0 w 9806214"/>
              <a:gd name="connsiteY5" fmla="*/ 3227896 h 3227896"/>
              <a:gd name="connsiteX6" fmla="*/ 0 w 9806214"/>
              <a:gd name="connsiteY6" fmla="*/ 0 h 3227896"/>
              <a:gd name="connsiteX0" fmla="*/ 0 w 10536896"/>
              <a:gd name="connsiteY0" fmla="*/ 0 h 3227896"/>
              <a:gd name="connsiteX1" fmla="*/ 10536896 w 10536896"/>
              <a:gd name="connsiteY1" fmla="*/ 0 h 3227896"/>
              <a:gd name="connsiteX2" fmla="*/ 10408082 w 10536896"/>
              <a:gd name="connsiteY2" fmla="*/ 1643983 h 3227896"/>
              <a:gd name="connsiteX3" fmla="*/ 9049182 w 10536896"/>
              <a:gd name="connsiteY3" fmla="*/ 1669383 h 3227896"/>
              <a:gd name="connsiteX4" fmla="*/ 8930346 w 10536896"/>
              <a:gd name="connsiteY4" fmla="*/ 3227896 h 3227896"/>
              <a:gd name="connsiteX5" fmla="*/ 730682 w 10536896"/>
              <a:gd name="connsiteY5" fmla="*/ 3227896 h 3227896"/>
              <a:gd name="connsiteX6" fmla="*/ 0 w 10536896"/>
              <a:gd name="connsiteY6" fmla="*/ 0 h 3227896"/>
              <a:gd name="connsiteX0" fmla="*/ 14052 w 10550948"/>
              <a:gd name="connsiteY0" fmla="*/ 0 h 3241948"/>
              <a:gd name="connsiteX1" fmla="*/ 10550948 w 10550948"/>
              <a:gd name="connsiteY1" fmla="*/ 0 h 3241948"/>
              <a:gd name="connsiteX2" fmla="*/ 10422134 w 10550948"/>
              <a:gd name="connsiteY2" fmla="*/ 1643983 h 3241948"/>
              <a:gd name="connsiteX3" fmla="*/ 9063234 w 10550948"/>
              <a:gd name="connsiteY3" fmla="*/ 1669383 h 3241948"/>
              <a:gd name="connsiteX4" fmla="*/ 8944398 w 10550948"/>
              <a:gd name="connsiteY4" fmla="*/ 3227896 h 3241948"/>
              <a:gd name="connsiteX5" fmla="*/ 0 w 10550948"/>
              <a:gd name="connsiteY5" fmla="*/ 3241948 h 3241948"/>
              <a:gd name="connsiteX6" fmla="*/ 14052 w 10550948"/>
              <a:gd name="connsiteY6" fmla="*/ 0 h 32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50948" h="3241948">
                <a:moveTo>
                  <a:pt x="14052" y="0"/>
                </a:moveTo>
                <a:lnTo>
                  <a:pt x="10550948" y="0"/>
                </a:lnTo>
                <a:lnTo>
                  <a:pt x="10422134" y="1643983"/>
                </a:lnTo>
                <a:lnTo>
                  <a:pt x="9063234" y="1669383"/>
                </a:lnTo>
                <a:lnTo>
                  <a:pt x="8944398" y="3227896"/>
                </a:lnTo>
                <a:lnTo>
                  <a:pt x="0" y="3241948"/>
                </a:lnTo>
                <a:lnTo>
                  <a:pt x="14052" y="0"/>
                </a:lnTo>
                <a:close/>
              </a:path>
            </a:pathLst>
          </a:custGeom>
          <a:solidFill>
            <a:schemeClr val="bg1">
              <a:alpha val="77255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5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usupdate KW38</a:t>
            </a:r>
          </a:p>
        </p:txBody>
      </p:sp>
      <p:sp>
        <p:nvSpPr>
          <p:cNvPr id="25" name="Titel 6"/>
          <p:cNvSpPr txBox="1">
            <a:spLocks/>
          </p:cNvSpPr>
          <p:nvPr/>
        </p:nvSpPr>
        <p:spPr bwMode="gray">
          <a:xfrm>
            <a:off x="104423" y="4857479"/>
            <a:ext cx="5033907" cy="357123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sz="1800" b="0" dirty="0"/>
          </a:p>
        </p:txBody>
      </p:sp>
      <p:sp>
        <p:nvSpPr>
          <p:cNvPr id="26" name="Titel 6"/>
          <p:cNvSpPr txBox="1">
            <a:spLocks/>
          </p:cNvSpPr>
          <p:nvPr/>
        </p:nvSpPr>
        <p:spPr bwMode="gray">
          <a:xfrm>
            <a:off x="77529" y="3578641"/>
            <a:ext cx="6217254" cy="1226444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923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562722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1125444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68816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225088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08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2150" y="155414"/>
            <a:ext cx="2185867" cy="46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26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19773" y="4294585"/>
            <a:ext cx="5736000" cy="1984296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eilung der Datensätze 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6588950" y="1570411"/>
            <a:ext cx="5893373" cy="1667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Gesamtdaten</a:t>
            </a:r>
          </a:p>
          <a:p>
            <a:pPr lvl="1"/>
            <a:r>
              <a:rPr lang="de-DE" sz="1800" dirty="0"/>
              <a:t>462 Sätze in 5 Klassen</a:t>
            </a:r>
          </a:p>
          <a:p>
            <a:pPr lvl="1"/>
            <a:r>
              <a:rPr lang="de-DE" sz="1800" dirty="0"/>
              <a:t>Aufgeteilt in Trainings- und Testdaten</a:t>
            </a:r>
          </a:p>
          <a:p>
            <a:pPr lvl="1"/>
            <a:r>
              <a:rPr lang="de-DE" sz="1800" dirty="0"/>
              <a:t>Testdaten werden nicht mittrainiert</a:t>
            </a:r>
          </a:p>
          <a:p>
            <a:pPr marL="358775" lvl="1" indent="0">
              <a:buNone/>
            </a:pPr>
            <a:r>
              <a:rPr lang="de-DE" sz="1800" dirty="0"/>
              <a:t>	</a:t>
            </a:r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None/>
            </a:pPr>
            <a:endParaRPr lang="de-DE" sz="1800" dirty="0">
              <a:sym typeface="Wingdings" panose="05000000000000000000" pitchFamily="2" charset="2"/>
            </a:endParaRPr>
          </a:p>
          <a:p>
            <a:pPr lvl="1"/>
            <a:endParaRPr lang="de-DE" sz="1800" dirty="0"/>
          </a:p>
        </p:txBody>
      </p:sp>
      <p:pic>
        <p:nvPicPr>
          <p:cNvPr id="15" name="Grafik 1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B6E13302-A76C-D848-8CCA-EC89CEC101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596" y="1028117"/>
            <a:ext cx="6402354" cy="480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096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19773" y="4294585"/>
            <a:ext cx="5736000" cy="1984296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358775" lvl="1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teilung der Datensätze 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441086" y="4736276"/>
            <a:ext cx="5893373" cy="1667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Datensatz I (Testdaten)</a:t>
            </a:r>
          </a:p>
          <a:p>
            <a:pPr lvl="1"/>
            <a:r>
              <a:rPr lang="de-DE" sz="1800" dirty="0"/>
              <a:t>116 Sätze 24 Akzente (2784 WAV Dateien)</a:t>
            </a:r>
          </a:p>
          <a:p>
            <a:pPr lvl="1"/>
            <a:r>
              <a:rPr lang="de-DE" sz="1800" dirty="0"/>
              <a:t>ca. 5,4 Stunden</a:t>
            </a:r>
          </a:p>
          <a:p>
            <a:pPr lvl="1"/>
            <a:r>
              <a:rPr lang="de-DE" sz="1800" dirty="0"/>
              <a:t>Testdaten werden nicht mittrainiert</a:t>
            </a:r>
          </a:p>
          <a:p>
            <a:pPr marL="358775" lvl="1" indent="0">
              <a:buNone/>
            </a:pPr>
            <a:r>
              <a:rPr lang="de-DE" sz="1800" dirty="0"/>
              <a:t>	</a:t>
            </a:r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None/>
            </a:pPr>
            <a:endParaRPr lang="de-DE" sz="1800" dirty="0">
              <a:sym typeface="Wingdings" panose="05000000000000000000" pitchFamily="2" charset="2"/>
            </a:endParaRPr>
          </a:p>
          <a:p>
            <a:pPr lvl="1"/>
            <a:endParaRPr lang="de-DE" sz="1800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66E76A5D-0BFB-D84B-92DB-374E89763541}"/>
              </a:ext>
            </a:extLst>
          </p:cNvPr>
          <p:cNvSpPr txBox="1">
            <a:spLocks/>
          </p:cNvSpPr>
          <p:nvPr/>
        </p:nvSpPr>
        <p:spPr>
          <a:xfrm>
            <a:off x="6540980" y="4736276"/>
            <a:ext cx="5893373" cy="16673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Datensatz II (Trainingsdaten)</a:t>
            </a:r>
          </a:p>
          <a:p>
            <a:pPr lvl="1"/>
            <a:r>
              <a:rPr lang="de-DE" sz="1800" dirty="0"/>
              <a:t>346 Sätze 24 Akzente (8304 WAV Dateien) </a:t>
            </a:r>
          </a:p>
          <a:p>
            <a:pPr lvl="1"/>
            <a:r>
              <a:rPr lang="de-DE" sz="1800" dirty="0"/>
              <a:t>ca. 16 Stunden</a:t>
            </a:r>
          </a:p>
          <a:p>
            <a:pPr lvl="1"/>
            <a:r>
              <a:rPr lang="de-DE" sz="1800" dirty="0">
                <a:sym typeface="Wingdings" panose="05000000000000000000" pitchFamily="2" charset="2"/>
              </a:rPr>
              <a:t>Trainingsdaten wurden genutzt um </a:t>
            </a:r>
            <a:r>
              <a:rPr lang="de-DE" sz="1800" dirty="0" err="1">
                <a:sym typeface="Wingdings" panose="05000000000000000000" pitchFamily="2" charset="2"/>
              </a:rPr>
              <a:t>Handlungsklassifikatoren</a:t>
            </a:r>
            <a:r>
              <a:rPr lang="de-DE" sz="1800" dirty="0">
                <a:sym typeface="Wingdings" panose="05000000000000000000" pitchFamily="2" charset="2"/>
              </a:rPr>
              <a:t> zu trainieren</a:t>
            </a:r>
            <a:r>
              <a:rPr lang="de-DE" sz="1800" dirty="0"/>
              <a:t>	</a:t>
            </a:r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marL="0" indent="0">
              <a:buNone/>
            </a:pPr>
            <a:endParaRPr lang="de-DE" sz="1800" dirty="0">
              <a:sym typeface="Wingdings" panose="05000000000000000000" pitchFamily="2" charset="2"/>
            </a:endParaRPr>
          </a:p>
          <a:p>
            <a:pPr lvl="1"/>
            <a:endParaRPr lang="de-DE" sz="1800" dirty="0"/>
          </a:p>
        </p:txBody>
      </p:sp>
      <p:pic>
        <p:nvPicPr>
          <p:cNvPr id="11" name="Grafik 10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B4B3C49D-D1F7-504F-84D2-072EE08F84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566" y="812914"/>
            <a:ext cx="5170163" cy="3877622"/>
          </a:xfrm>
          <a:prstGeom prst="rect">
            <a:avLst/>
          </a:prstGeom>
        </p:spPr>
      </p:pic>
      <p:pic>
        <p:nvPicPr>
          <p:cNvPr id="13" name="Grafik 12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E32C1569-E50D-1C47-AA36-9AD8B00573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4459" y="812914"/>
            <a:ext cx="5170163" cy="3877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7384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d Embeddi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Embedding Layer</a:t>
            </a:r>
          </a:p>
          <a:p>
            <a:pPr lvl="1"/>
            <a:r>
              <a:rPr lang="de-DE" sz="1800" dirty="0"/>
              <a:t>Zusätzlicher </a:t>
            </a:r>
            <a:r>
              <a:rPr lang="de-DE" sz="1800" dirty="0">
                <a:solidFill>
                  <a:srgbClr val="FF0000"/>
                </a:solidFill>
              </a:rPr>
              <a:t>Layer</a:t>
            </a:r>
            <a:r>
              <a:rPr lang="de-DE" sz="1800" dirty="0"/>
              <a:t> vor dem Netz zur Klassifikation von Wörtern und Sätzen, wird mit Netz trainiert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 err="1"/>
              <a:t>Reellwertige</a:t>
            </a:r>
            <a:r>
              <a:rPr lang="de-DE" sz="1800" dirty="0"/>
              <a:t> Darstellung von Wörtern und Sätzen (</a:t>
            </a:r>
            <a:r>
              <a:rPr lang="de-DE" sz="1800" dirty="0" err="1"/>
              <a:t>Sparse</a:t>
            </a:r>
            <a:r>
              <a:rPr lang="de-DE" sz="1800" dirty="0"/>
              <a:t> zu </a:t>
            </a:r>
            <a:r>
              <a:rPr lang="de-DE" sz="1800" dirty="0" err="1"/>
              <a:t>Dense</a:t>
            </a:r>
            <a:r>
              <a:rPr lang="de-DE" sz="1800" dirty="0"/>
              <a:t> Vektoren)</a:t>
            </a:r>
          </a:p>
          <a:p>
            <a:pPr marL="358775" lvl="1" indent="0">
              <a:buNone/>
            </a:pPr>
            <a:endParaRPr lang="de-DE" sz="1800" dirty="0"/>
          </a:p>
          <a:p>
            <a:pPr lvl="1"/>
            <a:endParaRPr lang="de-DE" sz="1800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36057E9-B442-FE47-A3FA-B45BBD13DCB7}"/>
              </a:ext>
            </a:extLst>
          </p:cNvPr>
          <p:cNvGrpSpPr/>
          <p:nvPr/>
        </p:nvGrpSpPr>
        <p:grpSpPr>
          <a:xfrm>
            <a:off x="2924480" y="2792814"/>
            <a:ext cx="6343040" cy="3342857"/>
            <a:chOff x="5508358" y="3413917"/>
            <a:chExt cx="5103125" cy="2648778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A2C5C6D-3939-BD4B-A391-7346ACFAA62D}"/>
                </a:ext>
              </a:extLst>
            </p:cNvPr>
            <p:cNvSpPr/>
            <p:nvPr/>
          </p:nvSpPr>
          <p:spPr>
            <a:xfrm>
              <a:off x="6175906" y="3479693"/>
              <a:ext cx="170408" cy="198383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B459B6C-AB1A-2D43-BEF2-60A9AF585E66}"/>
                </a:ext>
              </a:extLst>
            </p:cNvPr>
            <p:cNvSpPr/>
            <p:nvPr/>
          </p:nvSpPr>
          <p:spPr>
            <a:xfrm>
              <a:off x="6175906" y="3792783"/>
              <a:ext cx="170408" cy="198383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C71BA15-890E-694A-91EB-5545E077FC61}"/>
                </a:ext>
              </a:extLst>
            </p:cNvPr>
            <p:cNvSpPr/>
            <p:nvPr/>
          </p:nvSpPr>
          <p:spPr>
            <a:xfrm>
              <a:off x="6175906" y="4109062"/>
              <a:ext cx="170408" cy="198383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99B3A62E-2D42-594D-8DFD-21A7B195BEF7}"/>
                </a:ext>
              </a:extLst>
            </p:cNvPr>
            <p:cNvSpPr/>
            <p:nvPr/>
          </p:nvSpPr>
          <p:spPr>
            <a:xfrm>
              <a:off x="6182169" y="5762455"/>
              <a:ext cx="170408" cy="198383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428F2FC6-06F0-1C41-9A1C-3F9FDCCBF66C}"/>
                </a:ext>
              </a:extLst>
            </p:cNvPr>
            <p:cNvGrpSpPr/>
            <p:nvPr/>
          </p:nvGrpSpPr>
          <p:grpSpPr>
            <a:xfrm>
              <a:off x="5508358" y="3413917"/>
              <a:ext cx="5103125" cy="2648778"/>
              <a:chOff x="5508358" y="3413917"/>
              <a:chExt cx="5103125" cy="2648778"/>
            </a:xfrm>
          </p:grpSpPr>
          <p:grpSp>
            <p:nvGrpSpPr>
              <p:cNvPr id="18" name="Gruppieren 17">
                <a:extLst>
                  <a:ext uri="{FF2B5EF4-FFF2-40B4-BE49-F238E27FC236}">
                    <a16:creationId xmlns:a16="http://schemas.microsoft.com/office/drawing/2014/main" id="{584AC20A-ED08-1043-83EC-2501517E01C2}"/>
                  </a:ext>
                </a:extLst>
              </p:cNvPr>
              <p:cNvGrpSpPr/>
              <p:nvPr/>
            </p:nvGrpSpPr>
            <p:grpSpPr>
              <a:xfrm>
                <a:off x="5508358" y="3413917"/>
                <a:ext cx="5103125" cy="2648778"/>
                <a:chOff x="2055837" y="2779644"/>
                <a:chExt cx="6345701" cy="2774950"/>
              </a:xfrm>
            </p:grpSpPr>
            <p:grpSp>
              <p:nvGrpSpPr>
                <p:cNvPr id="24" name="Gruppieren 23">
                  <a:extLst>
                    <a:ext uri="{FF2B5EF4-FFF2-40B4-BE49-F238E27FC236}">
                      <a16:creationId xmlns:a16="http://schemas.microsoft.com/office/drawing/2014/main" id="{9B10EABC-D258-B74F-8A5B-310397D1C8E9}"/>
                    </a:ext>
                  </a:extLst>
                </p:cNvPr>
                <p:cNvGrpSpPr/>
                <p:nvPr/>
              </p:nvGrpSpPr>
              <p:grpSpPr>
                <a:xfrm>
                  <a:off x="2055837" y="2779644"/>
                  <a:ext cx="5141189" cy="2774950"/>
                  <a:chOff x="2055837" y="2779644"/>
                  <a:chExt cx="5141189" cy="2774950"/>
                </a:xfrm>
              </p:grpSpPr>
              <p:grpSp>
                <p:nvGrpSpPr>
                  <p:cNvPr id="31" name="Gruppieren 30">
                    <a:extLst>
                      <a:ext uri="{FF2B5EF4-FFF2-40B4-BE49-F238E27FC236}">
                        <a16:creationId xmlns:a16="http://schemas.microsoft.com/office/drawing/2014/main" id="{A3B096F4-9954-8448-95EA-079DC728A8C8}"/>
                      </a:ext>
                    </a:extLst>
                  </p:cNvPr>
                  <p:cNvGrpSpPr/>
                  <p:nvPr/>
                </p:nvGrpSpPr>
                <p:grpSpPr>
                  <a:xfrm>
                    <a:off x="3721004" y="2779644"/>
                    <a:ext cx="3476022" cy="2774950"/>
                    <a:chOff x="3694500" y="2812774"/>
                    <a:chExt cx="3476022" cy="2774950"/>
                  </a:xfrm>
                </p:grpSpPr>
                <p:cxnSp>
                  <p:nvCxnSpPr>
                    <p:cNvPr id="36" name="Gerade Verbindung mit Pfeil 35">
                      <a:extLst>
                        <a:ext uri="{FF2B5EF4-FFF2-40B4-BE49-F238E27FC236}">
                          <a16:creationId xmlns:a16="http://schemas.microsoft.com/office/drawing/2014/main" id="{9769379C-A608-3F4C-B853-65D2BBB771D8}"/>
                        </a:ext>
                      </a:extLst>
                    </p:cNvPr>
                    <p:cNvCxnSpPr>
                      <a:cxnSpLocks/>
                      <a:endCxn id="45" idx="2"/>
                    </p:cNvCxnSpPr>
                    <p:nvPr/>
                  </p:nvCxnSpPr>
                  <p:spPr>
                    <a:xfrm>
                      <a:off x="6094800" y="3289226"/>
                      <a:ext cx="895722" cy="1466835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7" name="Gerade Verbindung mit Pfeil 36">
                      <a:extLst>
                        <a:ext uri="{FF2B5EF4-FFF2-40B4-BE49-F238E27FC236}">
                          <a16:creationId xmlns:a16="http://schemas.microsoft.com/office/drawing/2014/main" id="{5B7BF793-DA32-4347-BC39-6FFDD7506AF8}"/>
                        </a:ext>
                      </a:extLst>
                    </p:cNvPr>
                    <p:cNvCxnSpPr>
                      <a:cxnSpLocks/>
                      <a:endCxn id="41" idx="2"/>
                    </p:cNvCxnSpPr>
                    <p:nvPr/>
                  </p:nvCxnSpPr>
                  <p:spPr>
                    <a:xfrm flipV="1">
                      <a:off x="6094800" y="3267209"/>
                      <a:ext cx="895722" cy="397743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8" name="Gerade Verbindung mit Pfeil 37">
                      <a:extLst>
                        <a:ext uri="{FF2B5EF4-FFF2-40B4-BE49-F238E27FC236}">
                          <a16:creationId xmlns:a16="http://schemas.microsoft.com/office/drawing/2014/main" id="{36197FE3-56DD-384C-B3A1-C1C6708D5704}"/>
                        </a:ext>
                      </a:extLst>
                    </p:cNvPr>
                    <p:cNvCxnSpPr>
                      <a:cxnSpLocks/>
                      <a:endCxn id="45" idx="2"/>
                    </p:cNvCxnSpPr>
                    <p:nvPr/>
                  </p:nvCxnSpPr>
                  <p:spPr>
                    <a:xfrm>
                      <a:off x="6094800" y="3672901"/>
                      <a:ext cx="895722" cy="1083160"/>
                    </a:xfrm>
                    <a:prstGeom prst="straightConnector1">
                      <a:avLst/>
                    </a:prstGeom>
                    <a:ln>
                      <a:solidFill>
                        <a:schemeClr val="tx1"/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39" name="Gruppieren 38">
                      <a:extLst>
                        <a:ext uri="{FF2B5EF4-FFF2-40B4-BE49-F238E27FC236}">
                          <a16:creationId xmlns:a16="http://schemas.microsoft.com/office/drawing/2014/main" id="{0BFD45AF-C083-FD47-B737-E37938A667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694500" y="2812774"/>
                      <a:ext cx="3476022" cy="2774950"/>
                      <a:chOff x="3694500" y="2812774"/>
                      <a:chExt cx="3476022" cy="2774950"/>
                    </a:xfrm>
                  </p:grpSpPr>
                  <p:pic>
                    <p:nvPicPr>
                      <p:cNvPr id="40" name="Grafik 39">
                        <a:extLst>
                          <a:ext uri="{FF2B5EF4-FFF2-40B4-BE49-F238E27FC236}">
                            <a16:creationId xmlns:a16="http://schemas.microsoft.com/office/drawing/2014/main" id="{3EE775A8-740F-9945-B363-DA9E3869A8E5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3694500" y="2812774"/>
                        <a:ext cx="2400300" cy="2774950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41" name="Oval 40">
                        <a:extLst>
                          <a:ext uri="{FF2B5EF4-FFF2-40B4-BE49-F238E27FC236}">
                            <a16:creationId xmlns:a16="http://schemas.microsoft.com/office/drawing/2014/main" id="{C043A2CB-9B46-0A46-9407-AC59686B34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90522" y="3177209"/>
                        <a:ext cx="180000" cy="180000"/>
                      </a:xfrm>
                      <a:prstGeom prst="ellipse">
                        <a:avLst/>
                      </a:prstGeom>
                      <a:solidFill>
                        <a:srgbClr val="DC931A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 dirty="0"/>
                      </a:p>
                    </p:txBody>
                  </p:sp>
                  <p:sp>
                    <p:nvSpPr>
                      <p:cNvPr id="42" name="Oval 41">
                        <a:extLst>
                          <a:ext uri="{FF2B5EF4-FFF2-40B4-BE49-F238E27FC236}">
                            <a16:creationId xmlns:a16="http://schemas.microsoft.com/office/drawing/2014/main" id="{81A09682-F3D3-4E46-99EC-1691CA53E7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90522" y="3530747"/>
                        <a:ext cx="180000" cy="180000"/>
                      </a:xfrm>
                      <a:prstGeom prst="ellipse">
                        <a:avLst/>
                      </a:prstGeom>
                      <a:solidFill>
                        <a:srgbClr val="DC931A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 dirty="0"/>
                      </a:p>
                    </p:txBody>
                  </p:sp>
                  <p:sp>
                    <p:nvSpPr>
                      <p:cNvPr id="43" name="Oval 42">
                        <a:extLst>
                          <a:ext uri="{FF2B5EF4-FFF2-40B4-BE49-F238E27FC236}">
                            <a16:creationId xmlns:a16="http://schemas.microsoft.com/office/drawing/2014/main" id="{3E98626E-878E-CE4C-B81D-D31FB1CB0F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90522" y="3909185"/>
                        <a:ext cx="180000" cy="180000"/>
                      </a:xfrm>
                      <a:prstGeom prst="ellipse">
                        <a:avLst/>
                      </a:prstGeom>
                      <a:solidFill>
                        <a:srgbClr val="DC931A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 dirty="0"/>
                      </a:p>
                    </p:txBody>
                  </p:sp>
                  <p:sp>
                    <p:nvSpPr>
                      <p:cNvPr id="44" name="Oval 43">
                        <a:extLst>
                          <a:ext uri="{FF2B5EF4-FFF2-40B4-BE49-F238E27FC236}">
                            <a16:creationId xmlns:a16="http://schemas.microsoft.com/office/drawing/2014/main" id="{DAEE9BFB-2506-3046-9124-218AA30B83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90522" y="4287623"/>
                        <a:ext cx="180000" cy="180000"/>
                      </a:xfrm>
                      <a:prstGeom prst="ellipse">
                        <a:avLst/>
                      </a:prstGeom>
                      <a:solidFill>
                        <a:srgbClr val="DC931A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 dirty="0"/>
                      </a:p>
                    </p:txBody>
                  </p:sp>
                  <p:sp>
                    <p:nvSpPr>
                      <p:cNvPr id="45" name="Oval 44">
                        <a:extLst>
                          <a:ext uri="{FF2B5EF4-FFF2-40B4-BE49-F238E27FC236}">
                            <a16:creationId xmlns:a16="http://schemas.microsoft.com/office/drawing/2014/main" id="{394A2D8A-0425-0141-B011-93D8450CB0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90522" y="4666061"/>
                        <a:ext cx="180000" cy="180000"/>
                      </a:xfrm>
                      <a:prstGeom prst="ellipse">
                        <a:avLst/>
                      </a:prstGeom>
                      <a:solidFill>
                        <a:srgbClr val="DC931A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e-DE" dirty="0"/>
                      </a:p>
                    </p:txBody>
                  </p:sp>
                  <p:cxnSp>
                    <p:nvCxnSpPr>
                      <p:cNvPr id="46" name="Gerade Verbindung mit Pfeil 45">
                        <a:extLst>
                          <a:ext uri="{FF2B5EF4-FFF2-40B4-BE49-F238E27FC236}">
                            <a16:creationId xmlns:a16="http://schemas.microsoft.com/office/drawing/2014/main" id="{CF4FF26C-E407-4246-A22C-5D0EDA3A7A4D}"/>
                          </a:ext>
                        </a:extLst>
                      </p:cNvPr>
                      <p:cNvCxnSpPr>
                        <a:cxnSpLocks/>
                        <a:endCxn id="41" idx="2"/>
                      </p:cNvCxnSpPr>
                      <p:nvPr/>
                    </p:nvCxnSpPr>
                    <p:spPr>
                      <a:xfrm>
                        <a:off x="6094800" y="2947924"/>
                        <a:ext cx="895722" cy="319285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7" name="Gerade Verbindung mit Pfeil 46">
                        <a:extLst>
                          <a:ext uri="{FF2B5EF4-FFF2-40B4-BE49-F238E27FC236}">
                            <a16:creationId xmlns:a16="http://schemas.microsoft.com/office/drawing/2014/main" id="{3A236D0D-3EAA-064E-AD61-22CFDDAE5D75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6094800" y="3290142"/>
                        <a:ext cx="895722" cy="319285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8" name="Gerade Verbindung mit Pfeil 47">
                        <a:extLst>
                          <a:ext uri="{FF2B5EF4-FFF2-40B4-BE49-F238E27FC236}">
                            <a16:creationId xmlns:a16="http://schemas.microsoft.com/office/drawing/2014/main" id="{E6DDF17A-3211-5D4A-8321-CDD871D171C2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6094800" y="3664952"/>
                        <a:ext cx="895722" cy="319285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9" name="Gerade Verbindung mit Pfeil 48">
                        <a:extLst>
                          <a:ext uri="{FF2B5EF4-FFF2-40B4-BE49-F238E27FC236}">
                            <a16:creationId xmlns:a16="http://schemas.microsoft.com/office/drawing/2014/main" id="{AA2C5A92-09A0-9649-A2F1-D791803E2D36}"/>
                          </a:ext>
                        </a:extLst>
                      </p:cNvPr>
                      <p:cNvCxnSpPr>
                        <a:cxnSpLocks/>
                        <a:endCxn id="42" idx="2"/>
                      </p:cNvCxnSpPr>
                      <p:nvPr/>
                    </p:nvCxnSpPr>
                    <p:spPr>
                      <a:xfrm>
                        <a:off x="6094800" y="2947924"/>
                        <a:ext cx="895722" cy="672823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0" name="Gerade Verbindung mit Pfeil 49">
                        <a:extLst>
                          <a:ext uri="{FF2B5EF4-FFF2-40B4-BE49-F238E27FC236}">
                            <a16:creationId xmlns:a16="http://schemas.microsoft.com/office/drawing/2014/main" id="{437C1510-68CA-6344-AF59-7FEB91A70E79}"/>
                          </a:ext>
                        </a:extLst>
                      </p:cNvPr>
                      <p:cNvCxnSpPr>
                        <a:cxnSpLocks/>
                        <a:endCxn id="44" idx="2"/>
                      </p:cNvCxnSpPr>
                      <p:nvPr/>
                    </p:nvCxnSpPr>
                    <p:spPr>
                      <a:xfrm>
                        <a:off x="6094800" y="2968180"/>
                        <a:ext cx="895722" cy="1409443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1" name="Gerade Verbindung mit Pfeil 50">
                        <a:extLst>
                          <a:ext uri="{FF2B5EF4-FFF2-40B4-BE49-F238E27FC236}">
                            <a16:creationId xmlns:a16="http://schemas.microsoft.com/office/drawing/2014/main" id="{DDC7234A-F8EB-9E48-BFEB-0343A5EAD6A1}"/>
                          </a:ext>
                        </a:extLst>
                      </p:cNvPr>
                      <p:cNvCxnSpPr>
                        <a:cxnSpLocks/>
                        <a:endCxn id="41" idx="2"/>
                      </p:cNvCxnSpPr>
                      <p:nvPr/>
                    </p:nvCxnSpPr>
                    <p:spPr>
                      <a:xfrm flipV="1">
                        <a:off x="6094800" y="3267209"/>
                        <a:ext cx="895722" cy="36322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2" name="Gerade Verbindung mit Pfeil 51">
                        <a:extLst>
                          <a:ext uri="{FF2B5EF4-FFF2-40B4-BE49-F238E27FC236}">
                            <a16:creationId xmlns:a16="http://schemas.microsoft.com/office/drawing/2014/main" id="{B33F889F-C9FD-AC4A-950A-03638F116A73}"/>
                          </a:ext>
                        </a:extLst>
                      </p:cNvPr>
                      <p:cNvCxnSpPr>
                        <a:cxnSpLocks/>
                        <a:endCxn id="45" idx="2"/>
                      </p:cNvCxnSpPr>
                      <p:nvPr/>
                    </p:nvCxnSpPr>
                    <p:spPr>
                      <a:xfrm flipV="1">
                        <a:off x="6094800" y="4756061"/>
                        <a:ext cx="895722" cy="624322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3" name="Gerade Verbindung mit Pfeil 52">
                        <a:extLst>
                          <a:ext uri="{FF2B5EF4-FFF2-40B4-BE49-F238E27FC236}">
                            <a16:creationId xmlns:a16="http://schemas.microsoft.com/office/drawing/2014/main" id="{6ACD16AD-B22D-AC48-A9DB-66F035EC317B}"/>
                          </a:ext>
                        </a:extLst>
                      </p:cNvPr>
                      <p:cNvCxnSpPr>
                        <a:cxnSpLocks/>
                        <a:endCxn id="44" idx="2"/>
                      </p:cNvCxnSpPr>
                      <p:nvPr/>
                    </p:nvCxnSpPr>
                    <p:spPr>
                      <a:xfrm flipV="1">
                        <a:off x="6067200" y="4377623"/>
                        <a:ext cx="923322" cy="1002760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4" name="Gerade Verbindung mit Pfeil 53">
                        <a:extLst>
                          <a:ext uri="{FF2B5EF4-FFF2-40B4-BE49-F238E27FC236}">
                            <a16:creationId xmlns:a16="http://schemas.microsoft.com/office/drawing/2014/main" id="{50B744FC-2795-B749-A6B7-3E72A96314FD}"/>
                          </a:ext>
                        </a:extLst>
                      </p:cNvPr>
                      <p:cNvCxnSpPr>
                        <a:cxnSpLocks/>
                        <a:endCxn id="44" idx="2"/>
                      </p:cNvCxnSpPr>
                      <p:nvPr/>
                    </p:nvCxnSpPr>
                    <p:spPr>
                      <a:xfrm>
                        <a:off x="6094800" y="3298499"/>
                        <a:ext cx="895722" cy="1079124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5" name="Gerade Verbindung mit Pfeil 54">
                        <a:extLst>
                          <a:ext uri="{FF2B5EF4-FFF2-40B4-BE49-F238E27FC236}">
                            <a16:creationId xmlns:a16="http://schemas.microsoft.com/office/drawing/2014/main" id="{5918B878-6703-364D-A0CC-4A3604374406}"/>
                          </a:ext>
                        </a:extLst>
                      </p:cNvPr>
                      <p:cNvCxnSpPr>
                        <a:cxnSpLocks/>
                        <a:endCxn id="43" idx="2"/>
                      </p:cNvCxnSpPr>
                      <p:nvPr/>
                    </p:nvCxnSpPr>
                    <p:spPr>
                      <a:xfrm flipV="1">
                        <a:off x="6067200" y="3999185"/>
                        <a:ext cx="923322" cy="1381198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6" name="Gerade Verbindung mit Pfeil 55">
                        <a:extLst>
                          <a:ext uri="{FF2B5EF4-FFF2-40B4-BE49-F238E27FC236}">
                            <a16:creationId xmlns:a16="http://schemas.microsoft.com/office/drawing/2014/main" id="{5F48CC71-1DD8-FF44-AA85-2245F692EBDD}"/>
                          </a:ext>
                        </a:extLst>
                      </p:cNvPr>
                      <p:cNvCxnSpPr>
                        <a:cxnSpLocks/>
                        <a:endCxn id="42" idx="2"/>
                      </p:cNvCxnSpPr>
                      <p:nvPr/>
                    </p:nvCxnSpPr>
                    <p:spPr>
                      <a:xfrm flipV="1">
                        <a:off x="6067200" y="3620747"/>
                        <a:ext cx="923322" cy="1751362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7" name="Gerade Verbindung mit Pfeil 56">
                        <a:extLst>
                          <a:ext uri="{FF2B5EF4-FFF2-40B4-BE49-F238E27FC236}">
                            <a16:creationId xmlns:a16="http://schemas.microsoft.com/office/drawing/2014/main" id="{670F4015-00BE-084B-9FA0-5BA2C4A42295}"/>
                          </a:ext>
                        </a:extLst>
                      </p:cNvPr>
                      <p:cNvCxnSpPr>
                        <a:cxnSpLocks/>
                        <a:endCxn id="41" idx="2"/>
                      </p:cNvCxnSpPr>
                      <p:nvPr/>
                    </p:nvCxnSpPr>
                    <p:spPr>
                      <a:xfrm flipV="1">
                        <a:off x="6094800" y="3267209"/>
                        <a:ext cx="895722" cy="2112850"/>
                      </a:xfrm>
                      <a:prstGeom prst="straightConnector1">
                        <a:avLst/>
                      </a:prstGeom>
                      <a:ln>
                        <a:solidFill>
                          <a:schemeClr val="tx1"/>
                        </a:solidFill>
                        <a:tailEnd type="triangle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sp>
                <p:nvSpPr>
                  <p:cNvPr id="32" name="Textfeld 31">
                    <a:extLst>
                      <a:ext uri="{FF2B5EF4-FFF2-40B4-BE49-F238E27FC236}">
                        <a16:creationId xmlns:a16="http://schemas.microsoft.com/office/drawing/2014/main" id="{9BB847A4-3BA8-8647-9BB3-A8F77AE888FD}"/>
                      </a:ext>
                    </a:extLst>
                  </p:cNvPr>
                  <p:cNvSpPr txBox="1"/>
                  <p:nvPr/>
                </p:nvSpPr>
                <p:spPr>
                  <a:xfrm>
                    <a:off x="2055837" y="2806671"/>
                    <a:ext cx="437661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de-DE" dirty="0"/>
                      <a:t>1</a:t>
                    </a:r>
                  </a:p>
                </p:txBody>
              </p:sp>
              <p:sp>
                <p:nvSpPr>
                  <p:cNvPr id="33" name="Textfeld 32">
                    <a:extLst>
                      <a:ext uri="{FF2B5EF4-FFF2-40B4-BE49-F238E27FC236}">
                        <a16:creationId xmlns:a16="http://schemas.microsoft.com/office/drawing/2014/main" id="{F88072B9-7056-9E45-9901-5E1952877895}"/>
                      </a:ext>
                    </a:extLst>
                  </p:cNvPr>
                  <p:cNvSpPr txBox="1"/>
                  <p:nvPr/>
                </p:nvSpPr>
                <p:spPr>
                  <a:xfrm>
                    <a:off x="2066037" y="3136990"/>
                    <a:ext cx="437661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de-DE" dirty="0"/>
                      <a:t>0</a:t>
                    </a:r>
                  </a:p>
                </p:txBody>
              </p:sp>
              <p:sp>
                <p:nvSpPr>
                  <p:cNvPr id="34" name="Textfeld 33">
                    <a:extLst>
                      <a:ext uri="{FF2B5EF4-FFF2-40B4-BE49-F238E27FC236}">
                        <a16:creationId xmlns:a16="http://schemas.microsoft.com/office/drawing/2014/main" id="{79D8A793-DF28-4F40-AA46-B7B6E36B806A}"/>
                      </a:ext>
                    </a:extLst>
                  </p:cNvPr>
                  <p:cNvSpPr txBox="1"/>
                  <p:nvPr/>
                </p:nvSpPr>
                <p:spPr>
                  <a:xfrm>
                    <a:off x="2066037" y="3492368"/>
                    <a:ext cx="437661" cy="27699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de-DE" dirty="0"/>
                      <a:t>0</a:t>
                    </a:r>
                  </a:p>
                </p:txBody>
              </p:sp>
              <p:sp>
                <p:nvSpPr>
                  <p:cNvPr id="35" name="Textfeld 34">
                    <a:extLst>
                      <a:ext uri="{FF2B5EF4-FFF2-40B4-BE49-F238E27FC236}">
                        <a16:creationId xmlns:a16="http://schemas.microsoft.com/office/drawing/2014/main" id="{9122B887-B7C6-5E4C-9757-2D1C654497ED}"/>
                      </a:ext>
                    </a:extLst>
                  </p:cNvPr>
                  <p:cNvSpPr txBox="1"/>
                  <p:nvPr/>
                </p:nvSpPr>
                <p:spPr>
                  <a:xfrm>
                    <a:off x="2105114" y="5218551"/>
                    <a:ext cx="437661" cy="22994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de-DE" dirty="0"/>
                      <a:t>0</a:t>
                    </a:r>
                  </a:p>
                </p:txBody>
              </p:sp>
            </p:grpSp>
            <p:sp>
              <p:nvSpPr>
                <p:cNvPr id="25" name="Textfeld 24">
                  <a:extLst>
                    <a:ext uri="{FF2B5EF4-FFF2-40B4-BE49-F238E27FC236}">
                      <a16:creationId xmlns:a16="http://schemas.microsoft.com/office/drawing/2014/main" id="{A8581B6D-7A4D-A549-8317-4BC4FE2A3E4C}"/>
                    </a:ext>
                  </a:extLst>
                </p:cNvPr>
                <p:cNvSpPr txBox="1"/>
                <p:nvPr/>
              </p:nvSpPr>
              <p:spPr>
                <a:xfrm>
                  <a:off x="7192789" y="3081505"/>
                  <a:ext cx="945661" cy="1960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800" dirty="0"/>
                    <a:t>P(„</a:t>
                  </a:r>
                  <a:r>
                    <a:rPr lang="de-DE" sz="800" dirty="0" err="1"/>
                    <a:t>slam</a:t>
                  </a:r>
                  <a:r>
                    <a:rPr lang="de-DE" sz="800" dirty="0"/>
                    <a:t>“)</a:t>
                  </a:r>
                </a:p>
              </p:txBody>
            </p:sp>
            <p:sp>
              <p:nvSpPr>
                <p:cNvPr id="26" name="Textfeld 25">
                  <a:extLst>
                    <a:ext uri="{FF2B5EF4-FFF2-40B4-BE49-F238E27FC236}">
                      <a16:creationId xmlns:a16="http://schemas.microsoft.com/office/drawing/2014/main" id="{BD922AD7-A322-7F44-8FC0-1E09D410FB58}"/>
                    </a:ext>
                  </a:extLst>
                </p:cNvPr>
                <p:cNvSpPr txBox="1"/>
                <p:nvPr/>
              </p:nvSpPr>
              <p:spPr>
                <a:xfrm>
                  <a:off x="7193672" y="3451446"/>
                  <a:ext cx="945661" cy="1960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800" dirty="0"/>
                    <a:t>P(</a:t>
                  </a:r>
                  <a:r>
                    <a:rPr lang="de-DE" sz="800" dirty="0" err="1"/>
                    <a:t>drive</a:t>
                  </a:r>
                  <a:r>
                    <a:rPr lang="de-DE" sz="800" dirty="0"/>
                    <a:t> </a:t>
                  </a:r>
                  <a:r>
                    <a:rPr lang="de-DE" sz="800" dirty="0" err="1"/>
                    <a:t>to</a:t>
                  </a:r>
                  <a:r>
                    <a:rPr lang="de-DE" sz="800" dirty="0"/>
                    <a:t>)</a:t>
                  </a:r>
                </a:p>
              </p:txBody>
            </p:sp>
            <p:sp>
              <p:nvSpPr>
                <p:cNvPr id="27" name="Textfeld 26">
                  <a:extLst>
                    <a:ext uri="{FF2B5EF4-FFF2-40B4-BE49-F238E27FC236}">
                      <a16:creationId xmlns:a16="http://schemas.microsoft.com/office/drawing/2014/main" id="{3C264ED3-D749-1448-B4F4-180E2F8E132C}"/>
                    </a:ext>
                  </a:extLst>
                </p:cNvPr>
                <p:cNvSpPr txBox="1"/>
                <p:nvPr/>
              </p:nvSpPr>
              <p:spPr>
                <a:xfrm>
                  <a:off x="7195424" y="3821610"/>
                  <a:ext cx="945661" cy="1960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800" dirty="0"/>
                    <a:t>P(</a:t>
                  </a:r>
                  <a:r>
                    <a:rPr lang="de-DE" sz="800" dirty="0" err="1"/>
                    <a:t>wait</a:t>
                  </a:r>
                  <a:r>
                    <a:rPr lang="de-DE" sz="800" dirty="0"/>
                    <a:t> </a:t>
                  </a:r>
                  <a:r>
                    <a:rPr lang="de-DE" sz="800" dirty="0" err="1"/>
                    <a:t>for</a:t>
                  </a:r>
                  <a:r>
                    <a:rPr lang="de-DE" sz="800" dirty="0"/>
                    <a:t>)</a:t>
                  </a:r>
                </a:p>
              </p:txBody>
            </p:sp>
            <p:sp>
              <p:nvSpPr>
                <p:cNvPr id="28" name="Textfeld 27">
                  <a:extLst>
                    <a:ext uri="{FF2B5EF4-FFF2-40B4-BE49-F238E27FC236}">
                      <a16:creationId xmlns:a16="http://schemas.microsoft.com/office/drawing/2014/main" id="{A80413B4-EB7A-444E-8073-343FA93576FD}"/>
                    </a:ext>
                  </a:extLst>
                </p:cNvPr>
                <p:cNvSpPr txBox="1"/>
                <p:nvPr/>
              </p:nvSpPr>
              <p:spPr>
                <a:xfrm>
                  <a:off x="7195424" y="4203033"/>
                  <a:ext cx="1206114" cy="1960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800" dirty="0"/>
                    <a:t>P(</a:t>
                  </a:r>
                  <a:r>
                    <a:rPr lang="de-DE" sz="800" dirty="0" err="1"/>
                    <a:t>localization</a:t>
                  </a:r>
                  <a:r>
                    <a:rPr lang="de-DE" sz="800" dirty="0"/>
                    <a:t>)</a:t>
                  </a:r>
                </a:p>
              </p:txBody>
            </p:sp>
            <p:sp>
              <p:nvSpPr>
                <p:cNvPr id="29" name="Textfeld 28">
                  <a:extLst>
                    <a:ext uri="{FF2B5EF4-FFF2-40B4-BE49-F238E27FC236}">
                      <a16:creationId xmlns:a16="http://schemas.microsoft.com/office/drawing/2014/main" id="{80300AA4-3DE1-CE4E-A21A-901B278AD295}"/>
                    </a:ext>
                  </a:extLst>
                </p:cNvPr>
                <p:cNvSpPr txBox="1"/>
                <p:nvPr/>
              </p:nvSpPr>
              <p:spPr>
                <a:xfrm>
                  <a:off x="7188799" y="4588794"/>
                  <a:ext cx="945661" cy="1960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800" dirty="0"/>
                    <a:t>P(</a:t>
                  </a:r>
                  <a:r>
                    <a:rPr lang="de-DE" sz="800" dirty="0" err="1"/>
                    <a:t>stop</a:t>
                  </a:r>
                  <a:r>
                    <a:rPr lang="de-DE" sz="800" dirty="0"/>
                    <a:t>)</a:t>
                  </a:r>
                </a:p>
              </p:txBody>
            </p:sp>
          </p:grp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1D510BDD-1817-464E-B0F3-EF6D8A3F02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346314" y="3460425"/>
                <a:ext cx="502556" cy="2459083"/>
              </a:xfrm>
              <a:prstGeom prst="rect">
                <a:avLst/>
              </a:prstGeom>
            </p:spPr>
          </p:pic>
          <p:cxnSp>
            <p:nvCxnSpPr>
              <p:cNvPr id="20" name="Gerade Verbindung mit Pfeil 19">
                <a:extLst>
                  <a:ext uri="{FF2B5EF4-FFF2-40B4-BE49-F238E27FC236}">
                    <a16:creationId xmlns:a16="http://schemas.microsoft.com/office/drawing/2014/main" id="{F093C226-6C12-B247-8CF5-1637DF9D1A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06362" y="3562257"/>
                <a:ext cx="434375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9ACB7285-D050-2447-9F90-B049C4E6DF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06362" y="3889181"/>
                <a:ext cx="434375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mit Pfeil 21">
                <a:extLst>
                  <a:ext uri="{FF2B5EF4-FFF2-40B4-BE49-F238E27FC236}">
                    <a16:creationId xmlns:a16="http://schemas.microsoft.com/office/drawing/2014/main" id="{2CE34173-895B-EB42-84BA-A6F72E68F6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06362" y="4212272"/>
                <a:ext cx="434375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mit Pfeil 22">
                <a:extLst>
                  <a:ext uri="{FF2B5EF4-FFF2-40B4-BE49-F238E27FC236}">
                    <a16:creationId xmlns:a16="http://schemas.microsoft.com/office/drawing/2014/main" id="{CEAC81A2-B15F-4B4E-85B5-4980A564A6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41531" y="5864472"/>
                <a:ext cx="434375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731187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d Embeddi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pPr lvl="1"/>
            <a:r>
              <a:rPr lang="de-DE" sz="1800" dirty="0"/>
              <a:t>Vokabular = [</a:t>
            </a:r>
            <a:r>
              <a:rPr lang="de-DE" sz="1800" dirty="0" err="1"/>
              <a:t>drive</a:t>
            </a:r>
            <a:r>
              <a:rPr lang="de-DE" sz="1800" dirty="0"/>
              <a:t>, </a:t>
            </a:r>
            <a:r>
              <a:rPr lang="de-DE" sz="1800" dirty="0" err="1"/>
              <a:t>to</a:t>
            </a:r>
            <a:r>
              <a:rPr lang="de-DE" sz="1800" dirty="0"/>
              <a:t> , </a:t>
            </a:r>
            <a:r>
              <a:rPr lang="de-DE" sz="1800" dirty="0" err="1"/>
              <a:t>location</a:t>
            </a:r>
            <a:r>
              <a:rPr lang="de-DE" sz="1800" dirty="0"/>
              <a:t>, </a:t>
            </a:r>
            <a:r>
              <a:rPr lang="de-DE" sz="1800" dirty="0" err="1"/>
              <a:t>beta</a:t>
            </a:r>
            <a:r>
              <a:rPr lang="de-DE" sz="1800" dirty="0"/>
              <a:t>, </a:t>
            </a:r>
            <a:r>
              <a:rPr lang="de-DE" sz="1800" dirty="0" err="1"/>
              <a:t>localize</a:t>
            </a:r>
            <a:r>
              <a:rPr lang="de-DE" sz="1800" dirty="0"/>
              <a:t>, </a:t>
            </a:r>
            <a:r>
              <a:rPr lang="de-DE" sz="1800" dirty="0" err="1"/>
              <a:t>yourself</a:t>
            </a:r>
            <a:r>
              <a:rPr lang="de-DE" sz="1800" dirty="0"/>
              <a:t>, in, </a:t>
            </a:r>
            <a:r>
              <a:rPr lang="de-DE" sz="1800" dirty="0" err="1"/>
              <a:t>known</a:t>
            </a:r>
            <a:r>
              <a:rPr lang="de-DE" sz="1800" dirty="0"/>
              <a:t>, </a:t>
            </a:r>
            <a:r>
              <a:rPr lang="de-DE" sz="1800" dirty="0" err="1"/>
              <a:t>envrinment</a:t>
            </a:r>
            <a:r>
              <a:rPr lang="de-DE" sz="1800" dirty="0"/>
              <a:t>, </a:t>
            </a:r>
            <a:r>
              <a:rPr lang="de-DE" sz="1800" dirty="0" err="1"/>
              <a:t>unknown</a:t>
            </a:r>
            <a:r>
              <a:rPr lang="de-DE" sz="1800" dirty="0"/>
              <a:t>, </a:t>
            </a:r>
            <a:r>
              <a:rPr lang="de-DE" sz="1800" dirty="0" err="1"/>
              <a:t>wait</a:t>
            </a:r>
            <a:r>
              <a:rPr lang="de-DE" sz="1800" dirty="0"/>
              <a:t>, </a:t>
            </a:r>
            <a:r>
              <a:rPr lang="de-DE" sz="1800" dirty="0" err="1"/>
              <a:t>for</a:t>
            </a:r>
            <a:r>
              <a:rPr lang="de-DE" sz="1800" dirty="0"/>
              <a:t>, </a:t>
            </a:r>
            <a:r>
              <a:rPr lang="de-DE" sz="1800" dirty="0" err="1"/>
              <a:t>new</a:t>
            </a:r>
            <a:r>
              <a:rPr lang="de-DE" sz="1800" dirty="0"/>
              <a:t>, </a:t>
            </a:r>
            <a:r>
              <a:rPr lang="de-DE" sz="1800" dirty="0" err="1"/>
              <a:t>commands</a:t>
            </a:r>
            <a:r>
              <a:rPr lang="de-DE" sz="1800" dirty="0"/>
              <a:t>]</a:t>
            </a:r>
          </a:p>
          <a:p>
            <a:pPr marL="358775" lvl="1" indent="0">
              <a:buNone/>
            </a:pPr>
            <a:endParaRPr lang="de-DE" sz="1800" dirty="0"/>
          </a:p>
          <a:p>
            <a:pPr lvl="1"/>
            <a:r>
              <a:rPr lang="de-DE" sz="1800" dirty="0"/>
              <a:t>Dimension d wird vorgegeben, a sind </a:t>
            </a:r>
            <a:r>
              <a:rPr lang="de-DE" sz="1800" dirty="0" err="1"/>
              <a:t>reellwertige</a:t>
            </a:r>
            <a:r>
              <a:rPr lang="de-DE" sz="1800" dirty="0"/>
              <a:t> Einträge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Drive = [1 0 0 0 0 0 0 0 0 0 0 0 0 0]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 err="1"/>
              <a:t>Drive_em</a:t>
            </a:r>
            <a:r>
              <a:rPr lang="de-DE" sz="1800" dirty="0"/>
              <a:t> = Drive </a:t>
            </a:r>
            <a:r>
              <a:rPr lang="de-DE" sz="1800" b="1" dirty="0"/>
              <a:t>E </a:t>
            </a:r>
            <a:r>
              <a:rPr lang="de-DE" sz="1800" dirty="0"/>
              <a:t>= [a_0,1 a_1,1 .... a_1,d]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Bei Sätzen werden die einzelnen Vektoren verkettet</a:t>
            </a:r>
          </a:p>
          <a:p>
            <a:pPr lvl="1"/>
            <a:endParaRPr lang="de-DE" sz="18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9C38BE4-F287-4144-A38C-0B2B872434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37" y="2099939"/>
            <a:ext cx="3225800" cy="15240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1DB4D80B-985A-814E-9E40-12685AB87AC6}"/>
              </a:ext>
            </a:extLst>
          </p:cNvPr>
          <p:cNvSpPr/>
          <p:nvPr/>
        </p:nvSpPr>
        <p:spPr>
          <a:xfrm>
            <a:off x="7863840" y="2417064"/>
            <a:ext cx="2157984" cy="306375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0000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AA60811-5C95-A147-A9F8-314B298F33F9}"/>
              </a:ext>
            </a:extLst>
          </p:cNvPr>
          <p:cNvSpPr txBox="1"/>
          <p:nvPr/>
        </p:nvSpPr>
        <p:spPr>
          <a:xfrm>
            <a:off x="10092371" y="2854370"/>
            <a:ext cx="19511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Matrix </a:t>
            </a:r>
            <a:r>
              <a:rPr lang="de-DE" b="1" dirty="0"/>
              <a:t>E</a:t>
            </a:r>
            <a:r>
              <a:rPr lang="de-DE" dirty="0"/>
              <a:t> aus </a:t>
            </a:r>
            <a:r>
              <a:rPr lang="de-DE" dirty="0" err="1"/>
              <a:t>lookup</a:t>
            </a:r>
            <a:r>
              <a:rPr lang="de-DE" dirty="0"/>
              <a:t> </a:t>
            </a:r>
            <a:r>
              <a:rPr lang="de-DE" dirty="0" err="1"/>
              <a:t>tab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93128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d Embeddi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89EE173E-9FB8-6641-BAB1-DDFBC5AB141D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pPr lvl="1"/>
            <a:r>
              <a:rPr lang="de-DE" sz="1800" dirty="0"/>
              <a:t>Für Sätze: “</a:t>
            </a:r>
            <a:r>
              <a:rPr lang="de-DE" sz="1800" dirty="0" err="1"/>
              <a:t>Localize</a:t>
            </a:r>
            <a:r>
              <a:rPr lang="de-DE" sz="1800" dirty="0"/>
              <a:t> </a:t>
            </a:r>
            <a:r>
              <a:rPr lang="de-DE" sz="1800" dirty="0" err="1"/>
              <a:t>yourself</a:t>
            </a:r>
            <a:r>
              <a:rPr lang="de-DE" sz="1800" dirty="0"/>
              <a:t> in </a:t>
            </a:r>
            <a:r>
              <a:rPr lang="de-DE" sz="1800" dirty="0" err="1"/>
              <a:t>unknown</a:t>
            </a:r>
            <a:r>
              <a:rPr lang="de-DE" sz="1800" dirty="0"/>
              <a:t> </a:t>
            </a:r>
            <a:r>
              <a:rPr lang="de-DE" sz="1800" dirty="0" err="1"/>
              <a:t>environment</a:t>
            </a:r>
            <a:r>
              <a:rPr lang="de-DE" sz="1800" dirty="0"/>
              <a:t>“ ergibt als BOW  </a:t>
            </a:r>
            <a:r>
              <a:rPr lang="de-DE" sz="1800" dirty="0" err="1"/>
              <a:t>sen</a:t>
            </a:r>
            <a:r>
              <a:rPr lang="de-DE" sz="1800" dirty="0"/>
              <a:t> = [0 0 0 0 1 1 1 1 1 0 0 0 0 0]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 Oder: </a:t>
            </a:r>
            <a:r>
              <a:rPr lang="de-DE" sz="1800" dirty="0" err="1"/>
              <a:t>sen</a:t>
            </a:r>
            <a:r>
              <a:rPr lang="de-DE" sz="1800" dirty="0"/>
              <a:t> = [5 6 7 8 9], Positionszuordnung aus </a:t>
            </a:r>
            <a:r>
              <a:rPr lang="de-DE" sz="1800" dirty="0" err="1"/>
              <a:t>Vokabluar</a:t>
            </a:r>
            <a:r>
              <a:rPr lang="de-DE" sz="1800" dirty="0"/>
              <a:t> = [</a:t>
            </a:r>
            <a:r>
              <a:rPr lang="de-DE" sz="1800" dirty="0" err="1"/>
              <a:t>drive</a:t>
            </a:r>
            <a:r>
              <a:rPr lang="de-DE" sz="1800" dirty="0"/>
              <a:t>, </a:t>
            </a:r>
            <a:r>
              <a:rPr lang="de-DE" sz="1800" dirty="0" err="1"/>
              <a:t>to</a:t>
            </a:r>
            <a:r>
              <a:rPr lang="de-DE" sz="1800" dirty="0"/>
              <a:t> , </a:t>
            </a:r>
            <a:r>
              <a:rPr lang="de-DE" sz="1800" dirty="0" err="1"/>
              <a:t>location</a:t>
            </a:r>
            <a:r>
              <a:rPr lang="de-DE" sz="1800" dirty="0"/>
              <a:t>, </a:t>
            </a:r>
            <a:r>
              <a:rPr lang="de-DE" sz="1800" dirty="0" err="1"/>
              <a:t>beta</a:t>
            </a:r>
            <a:r>
              <a:rPr lang="de-DE" sz="1800" dirty="0"/>
              <a:t>, </a:t>
            </a:r>
            <a:r>
              <a:rPr lang="de-DE" sz="1800" dirty="0" err="1">
                <a:solidFill>
                  <a:srgbClr val="FF0000"/>
                </a:solidFill>
              </a:rPr>
              <a:t>localize</a:t>
            </a:r>
            <a:r>
              <a:rPr lang="de-DE" sz="1800" dirty="0">
                <a:solidFill>
                  <a:srgbClr val="FF0000"/>
                </a:solidFill>
              </a:rPr>
              <a:t>, </a:t>
            </a:r>
            <a:r>
              <a:rPr lang="de-DE" sz="1800" dirty="0" err="1">
                <a:solidFill>
                  <a:srgbClr val="FF0000"/>
                </a:solidFill>
              </a:rPr>
              <a:t>yourself</a:t>
            </a:r>
            <a:r>
              <a:rPr lang="de-DE" sz="1800" dirty="0">
                <a:solidFill>
                  <a:srgbClr val="FF0000"/>
                </a:solidFill>
              </a:rPr>
              <a:t>, in, </a:t>
            </a:r>
            <a:r>
              <a:rPr lang="de-DE" sz="1800" dirty="0" err="1">
                <a:solidFill>
                  <a:srgbClr val="FF0000"/>
                </a:solidFill>
              </a:rPr>
              <a:t>known</a:t>
            </a:r>
            <a:r>
              <a:rPr lang="de-DE" sz="1800" dirty="0">
                <a:solidFill>
                  <a:srgbClr val="FF0000"/>
                </a:solidFill>
              </a:rPr>
              <a:t>, </a:t>
            </a:r>
            <a:r>
              <a:rPr lang="de-DE" sz="1800" dirty="0" err="1">
                <a:solidFill>
                  <a:srgbClr val="FF0000"/>
                </a:solidFill>
              </a:rPr>
              <a:t>envronment</a:t>
            </a:r>
            <a:r>
              <a:rPr lang="de-DE" sz="1800" dirty="0">
                <a:solidFill>
                  <a:srgbClr val="FF0000"/>
                </a:solidFill>
              </a:rPr>
              <a:t>, </a:t>
            </a:r>
            <a:r>
              <a:rPr lang="de-DE" sz="1800" dirty="0" err="1"/>
              <a:t>unknown</a:t>
            </a:r>
            <a:r>
              <a:rPr lang="de-DE" sz="1800" dirty="0"/>
              <a:t>, </a:t>
            </a:r>
            <a:r>
              <a:rPr lang="de-DE" sz="1800" dirty="0" err="1"/>
              <a:t>wait</a:t>
            </a:r>
            <a:r>
              <a:rPr lang="de-DE" sz="1800" dirty="0"/>
              <a:t>, </a:t>
            </a:r>
            <a:r>
              <a:rPr lang="de-DE" sz="1800" dirty="0" err="1"/>
              <a:t>for</a:t>
            </a:r>
            <a:r>
              <a:rPr lang="de-DE" sz="1800" dirty="0"/>
              <a:t>, </a:t>
            </a:r>
            <a:r>
              <a:rPr lang="de-DE" sz="1800" dirty="0" err="1"/>
              <a:t>new</a:t>
            </a:r>
            <a:r>
              <a:rPr lang="de-DE" sz="1800" dirty="0"/>
              <a:t>, </a:t>
            </a:r>
            <a:r>
              <a:rPr lang="de-DE" sz="1800" dirty="0" err="1"/>
              <a:t>commands</a:t>
            </a:r>
            <a:r>
              <a:rPr lang="de-DE" sz="1800" dirty="0"/>
              <a:t>]]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Verkettung mit den Zeilen aus der Matrix </a:t>
            </a:r>
            <a:r>
              <a:rPr lang="de-DE" sz="1800" b="1" dirty="0"/>
              <a:t>E</a:t>
            </a:r>
          </a:p>
          <a:p>
            <a:pPr lvl="1"/>
            <a:endParaRPr lang="de-DE" sz="1800" b="1" dirty="0"/>
          </a:p>
          <a:p>
            <a:pPr lvl="1"/>
            <a:endParaRPr lang="de-DE" sz="1800" dirty="0"/>
          </a:p>
          <a:p>
            <a:pPr lvl="1"/>
            <a:endParaRPr lang="de-DE" sz="1800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6CE4670-6126-4D4A-86F8-B92C2594B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4800" y="3209301"/>
            <a:ext cx="5569101" cy="2968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5274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7613D608-2BA4-0D47-98BB-069D352429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1763" y="989463"/>
            <a:ext cx="12192000" cy="5868537"/>
          </a:xfrm>
          <a:prstGeom prst="rect">
            <a:avLst/>
          </a:prstGeom>
        </p:spPr>
      </p:pic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d Embeddi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89EE173E-9FB8-6641-BAB1-DDFBC5AB141D}"/>
              </a:ext>
            </a:extLst>
          </p:cNvPr>
          <p:cNvSpPr txBox="1">
            <a:spLocks/>
          </p:cNvSpPr>
          <p:nvPr/>
        </p:nvSpPr>
        <p:spPr>
          <a:xfrm>
            <a:off x="-6262" y="461244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pPr lvl="1"/>
            <a:r>
              <a:rPr lang="de-DE" sz="1800" dirty="0"/>
              <a:t>Word Embedding für den gesamten Datensatz (danach Hauptkomponentenanalyse)</a:t>
            </a:r>
          </a:p>
          <a:p>
            <a:pPr lvl="1"/>
            <a:r>
              <a:rPr lang="de-DE" sz="1800" dirty="0"/>
              <a:t>Nach Embedding Layer „abgebrochen“ </a:t>
            </a:r>
          </a:p>
        </p:txBody>
      </p:sp>
    </p:spTree>
    <p:extLst>
      <p:ext uri="{BB962C8B-B14F-4D97-AF65-F5344CB8AC3E}">
        <p14:creationId xmlns:p14="http://schemas.microsoft.com/office/powerpoint/2010/main" val="6135751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zwerkarchitektur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8775" lvl="1" indent="0">
              <a:buFont typeface="Wingdings 3" pitchFamily="18" charset="2"/>
              <a:buNone/>
            </a:pPr>
            <a:endParaRPr lang="de-DE" sz="1800" dirty="0"/>
          </a:p>
          <a:p>
            <a:r>
              <a:rPr lang="de-DE" sz="1800" dirty="0"/>
              <a:t>Damit ergeben sich vier verschiedene Netzwerkarchitekturen</a:t>
            </a:r>
          </a:p>
          <a:p>
            <a:endParaRPr lang="de-DE" sz="1800" dirty="0"/>
          </a:p>
          <a:p>
            <a:r>
              <a:rPr lang="de-DE" sz="1800" dirty="0"/>
              <a:t>FFN, RNN, Word Embedding + FNN, Word Embedding + RNN</a:t>
            </a:r>
          </a:p>
          <a:p>
            <a:pPr marL="0" indent="0">
              <a:buNone/>
            </a:pPr>
            <a:endParaRPr lang="de-DE" sz="1800" dirty="0"/>
          </a:p>
          <a:p>
            <a:pPr lvl="1"/>
            <a:endParaRPr lang="de-DE" sz="18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97B926A-40A2-7440-BF60-1B6AACF22218}"/>
              </a:ext>
            </a:extLst>
          </p:cNvPr>
          <p:cNvSpPr txBox="1"/>
          <p:nvPr/>
        </p:nvSpPr>
        <p:spPr>
          <a:xfrm>
            <a:off x="1600200" y="1848678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93836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60000" y="1051512"/>
            <a:ext cx="11469600" cy="5473019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ächste Schritte und Frag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Statusupdate Masterarbei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0.2019</a:t>
            </a:r>
            <a:endParaRPr lang="de-DE" dirty="0"/>
          </a:p>
        </p:txBody>
      </p:sp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BDE1F74B-F5E3-A54E-AF42-508BF4648D83}"/>
              </a:ext>
            </a:extLst>
          </p:cNvPr>
          <p:cNvSpPr txBox="1">
            <a:spLocks/>
          </p:cNvSpPr>
          <p:nvPr/>
        </p:nvSpPr>
        <p:spPr>
          <a:xfrm>
            <a:off x="360000" y="1051511"/>
            <a:ext cx="11469600" cy="54730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8775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 3" pitchFamily="18" charset="2"/>
              <a:buChar char="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4738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  <a:tabLst>
                <a:tab pos="1522413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57188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877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lnSpc>
                <a:spcPct val="110000"/>
              </a:lnSpc>
              <a:spcBef>
                <a:spcPts val="862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800" dirty="0"/>
              <a:t>String </a:t>
            </a:r>
            <a:r>
              <a:rPr lang="de-DE" sz="1800" dirty="0" err="1"/>
              <a:t>Matching</a:t>
            </a:r>
            <a:r>
              <a:rPr lang="de-DE" sz="1800" dirty="0"/>
              <a:t> verifizieren?</a:t>
            </a:r>
          </a:p>
          <a:p>
            <a:pPr lvl="1"/>
            <a:r>
              <a:rPr lang="de-DE" sz="1800" dirty="0"/>
              <a:t>Netzwerkarchitekturen?</a:t>
            </a:r>
          </a:p>
          <a:p>
            <a:pPr lvl="1"/>
            <a:r>
              <a:rPr lang="de-DE" sz="1800" dirty="0"/>
              <a:t>Auswerten der Netzwerkarchitekturen</a:t>
            </a:r>
          </a:p>
          <a:p>
            <a:pPr lvl="1"/>
            <a:r>
              <a:rPr lang="de-DE" sz="1800" dirty="0" err="1"/>
              <a:t>Raspberry</a:t>
            </a:r>
            <a:r>
              <a:rPr lang="de-DE" sz="1800"/>
              <a:t> Pi 4 ausprobieren</a:t>
            </a:r>
          </a:p>
          <a:p>
            <a:pPr marL="358775" lvl="1" indent="0">
              <a:buNone/>
            </a:pPr>
            <a:endParaRPr lang="de-DE" sz="1800" dirty="0"/>
          </a:p>
          <a:p>
            <a:pPr marL="358775" lvl="1" indent="0">
              <a:buNone/>
            </a:pPr>
            <a:endParaRPr lang="de-DE" sz="1800" dirty="0"/>
          </a:p>
          <a:p>
            <a:pPr lvl="1"/>
            <a:endParaRPr lang="de-DE" sz="1800" dirty="0"/>
          </a:p>
          <a:p>
            <a:pPr marL="0" indent="0">
              <a:buNone/>
            </a:pPr>
            <a:endParaRPr lang="de-DE" sz="1800" dirty="0"/>
          </a:p>
          <a:p>
            <a:pPr lvl="1"/>
            <a:endParaRPr lang="de-DE" sz="180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97B926A-40A2-7440-BF60-1B6AACF22218}"/>
              </a:ext>
            </a:extLst>
          </p:cNvPr>
          <p:cNvSpPr txBox="1"/>
          <p:nvPr/>
        </p:nvSpPr>
        <p:spPr>
          <a:xfrm>
            <a:off x="1600200" y="1848678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5778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mart">
  <a:themeElements>
    <a:clrScheme name="Benutzerdefiniert 1">
      <a:dk1>
        <a:sysClr val="windowText" lastClr="000000"/>
      </a:dk1>
      <a:lt1>
        <a:sysClr val="window" lastClr="FFFFFF"/>
      </a:lt1>
      <a:dk2>
        <a:srgbClr val="0060A9"/>
      </a:dk2>
      <a:lt2>
        <a:srgbClr val="D2D8DC"/>
      </a:lt2>
      <a:accent1>
        <a:srgbClr val="0060A9"/>
      </a:accent1>
      <a:accent2>
        <a:srgbClr val="A3B7DA"/>
      </a:accent2>
      <a:accent3>
        <a:srgbClr val="748394"/>
      </a:accent3>
      <a:accent4>
        <a:srgbClr val="FFE600"/>
      </a:accent4>
      <a:accent5>
        <a:srgbClr val="006600"/>
      </a:accent5>
      <a:accent6>
        <a:srgbClr val="B6070A"/>
      </a:accent6>
      <a:hlink>
        <a:srgbClr val="006EC2"/>
      </a:hlink>
      <a:folHlink>
        <a:srgbClr val="800080"/>
      </a:folHlink>
    </a:clrScheme>
    <a:fontScheme name="Master Sma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Master Smart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  <a:ln w="19050" cap="flat" cmpd="sng" algn="ctr">
          <a:solidFill>
            <a:srgbClr val="0060A9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  <a:custClrLst>
    <a:custClr name="Smart Grün">
      <a:srgbClr val="ADC22D"/>
    </a:custClr>
    <a:custClr name="Smart Orange">
      <a:srgbClr val="DC931A"/>
    </a:custClr>
    <a:custClr name="Smart Dunkelblau">
      <a:srgbClr val="283F64"/>
    </a:custClr>
  </a:custClrLst>
  <a:extLst>
    <a:ext uri="{05A4C25C-085E-4340-85A3-A5531E510DB2}">
      <thm15:themeFamily xmlns:thm15="http://schemas.microsoft.com/office/thememl/2012/main" name="Designvorlage.potx" id="{31D03E13-31BB-4AB1-95B7-0106BE1EC14C}" vid="{7DE87D3C-D34E-47B4-8BE1-28FD1924A42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72ea6ee43248479fb8bd9165cf026a xmlns="b85a9d60-6535-41ad-bf5c-23a8b594cd6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9f550ab-d043-4f5a-97bd-52764d9a66d8</TermId>
        </TermInfo>
      </Terms>
    </n472ea6ee43248479fb8bd9165cf026a>
    <_dlc_DocId xmlns="ed5c7061-1de8-4387-89c6-d21a66c01b33">SMMQM-2-392</_dlc_DocId>
    <_dlc_DocIdUrl xmlns="ed5c7061-1de8-4387-89c6-d21a66c01b33">
      <Url>https://qm.smart-mechatronics.de/_layouts/15/DocIdRedir.aspx?ID=SMMQM-2-392</Url>
      <Description>SMMQM-2-392</Description>
    </_dlc_DocIdUrl>
    <TaxCatchAll xmlns="ed5c7061-1de8-4387-89c6-d21a66c01b33">
      <Value>1</Value>
    </TaxCatchAll>
    <l228be0177a34db3828e80e3fa65188a xmlns="b85a9d60-6535-41ad-bf5c-23a8b594cd63">
      <Terms xmlns="http://schemas.microsoft.com/office/infopath/2007/PartnerControls"/>
    </l228be0177a34db3828e80e3fa65188a>
    <TaxKeywordTaxHTField xmlns="ed5c7061-1de8-4387-89c6-d21a66c01b33">
      <Terms xmlns="http://schemas.microsoft.com/office/infopath/2007/PartnerControls"/>
    </TaxKeywordTaxHTField>
    <baca3e887ca7480a9d7450c9bf4a3684 xmlns="b85a9d60-6535-41ad-bf5c-23a8b594cd63">
      <Terms xmlns="http://schemas.microsoft.com/office/infopath/2007/PartnerControls"/>
    </baca3e887ca7480a9d7450c9bf4a3684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BBD9003812289408EA7333BCACF44FC" ma:contentTypeVersion="12" ma:contentTypeDescription="Ein neues Dokument erstellen." ma:contentTypeScope="" ma:versionID="0c5c1046a88a933084f5a8197ebf6a23">
  <xsd:schema xmlns:xsd="http://www.w3.org/2001/XMLSchema" xmlns:xs="http://www.w3.org/2001/XMLSchema" xmlns:p="http://schemas.microsoft.com/office/2006/metadata/properties" xmlns:ns2="b85a9d60-6535-41ad-bf5c-23a8b594cd63" xmlns:ns3="ed5c7061-1de8-4387-89c6-d21a66c01b33" targetNamespace="http://schemas.microsoft.com/office/2006/metadata/properties" ma:root="true" ma:fieldsID="f2895043163c27cc329504fc8636e150" ns2:_="" ns3:_="">
    <xsd:import namespace="b85a9d60-6535-41ad-bf5c-23a8b594cd63"/>
    <xsd:import namespace="ed5c7061-1de8-4387-89c6-d21a66c01b33"/>
    <xsd:element name="properties">
      <xsd:complexType>
        <xsd:sequence>
          <xsd:element name="documentManagement">
            <xsd:complexType>
              <xsd:all>
                <xsd:element ref="ns2:n472ea6ee43248479fb8bd9165cf026a" minOccurs="0"/>
                <xsd:element ref="ns3:TaxCatchAll" minOccurs="0"/>
                <xsd:element ref="ns3:TaxKeywordTaxHTField" minOccurs="0"/>
                <xsd:element ref="ns2:baca3e887ca7480a9d7450c9bf4a3684" minOccurs="0"/>
                <xsd:element ref="ns2:l228be0177a34db3828e80e3fa65188a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5a9d60-6535-41ad-bf5c-23a8b594cd63" elementFormDefault="qualified">
    <xsd:import namespace="http://schemas.microsoft.com/office/2006/documentManagement/types"/>
    <xsd:import namespace="http://schemas.microsoft.com/office/infopath/2007/PartnerControls"/>
    <xsd:element name="n472ea6ee43248479fb8bd9165cf026a" ma:index="9" nillable="true" ma:taxonomy="true" ma:internalName="n472ea6ee43248479fb8bd9165cf026a" ma:taxonomyFieldName="Inhaltsart" ma:displayName="Inhaltsart" ma:default="" ma:fieldId="{7472ea6e-e432-4847-9fb8-bd9165cf026a}" ma:sspId="2e2829cc-aa2a-46b2-a28b-c9f97d3d1cb4" ma:termSetId="767c6171-8aee-45fe-9245-6574c4a98c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ca3e887ca7480a9d7450c9bf4a3684" ma:index="14" nillable="true" ma:taxonomy="true" ma:internalName="baca3e887ca7480a9d7450c9bf4a3684" ma:taxonomyFieldName="Organisation" ma:displayName="Organisation" ma:default="" ma:fieldId="{baca3e88-7ca7-480a-9d74-50c9bf4a3684}" ma:taxonomyMulti="true" ma:sspId="2e2829cc-aa2a-46b2-a28b-c9f97d3d1cb4" ma:termSetId="e3389e6f-2df5-4eb9-a59a-38e053c8fa8f" ma:anchorId="272604aa-3b6b-45a0-a37b-82e69713eb6d" ma:open="false" ma:isKeyword="false">
      <xsd:complexType>
        <xsd:sequence>
          <xsd:element ref="pc:Terms" minOccurs="0" maxOccurs="1"/>
        </xsd:sequence>
      </xsd:complexType>
    </xsd:element>
    <xsd:element name="l228be0177a34db3828e80e3fa65188a" ma:index="16" nillable="true" ma:taxonomy="true" ma:internalName="l228be0177a34db3828e80e3fa65188a" ma:taxonomyFieldName="GJ" ma:displayName="GJ" ma:default="" ma:fieldId="{5228be01-77a3-4db3-828e-80e3fa65188a}" ma:taxonomyMulti="true" ma:sspId="2e2829cc-aa2a-46b2-a28b-c9f97d3d1cb4" ma:termSetId="e3389e6f-2df5-4eb9-a59a-38e053c8fa8f" ma:anchorId="b48e39cb-534e-47f5-8a32-3ac0545ff679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c7061-1de8-4387-89c6-d21a66c01b33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61813fb6-496b-4d3a-8b99-ceada4826d4f}" ma:internalName="TaxCatchAll" ma:showField="CatchAllData" ma:web="ed5c7061-1de8-4387-89c6-d21a66c01b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2" nillable="true" ma:taxonomy="true" ma:internalName="TaxKeywordTaxHTField" ma:taxonomyFieldName="TaxKeyword" ma:displayName="Freitext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17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8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783BD3D0-EE3E-4A15-8667-6519756E537D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29940796-2B28-46D6-A019-405D01B8DF60}">
  <ds:schemaRefs>
    <ds:schemaRef ds:uri="http://purl.org/dc/terms/"/>
    <ds:schemaRef ds:uri="b85a9d60-6535-41ad-bf5c-23a8b594cd63"/>
    <ds:schemaRef ds:uri="ed5c7061-1de8-4387-89c6-d21a66c01b3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CA8B933-44D9-4902-90F1-BC93213D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85a9d60-6535-41ad-bf5c-23a8b594cd63"/>
    <ds:schemaRef ds:uri="ed5c7061-1de8-4387-89c6-d21a66c01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33AE78F-1762-4C8A-B000-A5B2FC0C6AC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0783E0A9-D953-4B7B-BC87-E5F4BA76F061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vorlage</Template>
  <TotalTime>0</TotalTime>
  <Words>397</Words>
  <Application>Microsoft Macintosh PowerPoint</Application>
  <PresentationFormat>Breitbild</PresentationFormat>
  <Paragraphs>123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Arial</vt:lpstr>
      <vt:lpstr>Segoe UI</vt:lpstr>
      <vt:lpstr>Wingdings</vt:lpstr>
      <vt:lpstr>Wingdings 3</vt:lpstr>
      <vt:lpstr>1_Smart</vt:lpstr>
      <vt:lpstr>think-cell Folie</vt:lpstr>
      <vt:lpstr>PowerPoint-Präsentation</vt:lpstr>
      <vt:lpstr>Verteilung der Datensätze </vt:lpstr>
      <vt:lpstr>Verteilung der Datensätze </vt:lpstr>
      <vt:lpstr>Word Embedding</vt:lpstr>
      <vt:lpstr>Word Embedding</vt:lpstr>
      <vt:lpstr>Word Embedding</vt:lpstr>
      <vt:lpstr>Word Embedding</vt:lpstr>
      <vt:lpstr>Netzwerkarchitekturen</vt:lpstr>
      <vt:lpstr>Nächste Schritte und Fragen</vt:lpstr>
    </vt:vector>
  </TitlesOfParts>
  <Company>UNITY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ttmann, Hannes</dc:creator>
  <cp:keywords/>
  <cp:lastModifiedBy>Hannes Dittmann</cp:lastModifiedBy>
  <cp:revision>51</cp:revision>
  <dcterms:created xsi:type="dcterms:W3CDTF">2019-09-25T11:15:24Z</dcterms:created>
  <dcterms:modified xsi:type="dcterms:W3CDTF">2020-09-17T11:31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Organisation">
    <vt:lpwstr/>
  </property>
  <property fmtid="{D5CDD505-2E9C-101B-9397-08002B2CF9AE}" pid="4" name="ContentTypeId">
    <vt:lpwstr>0x010100ABBD9003812289408EA7333BCACF44FC</vt:lpwstr>
  </property>
  <property fmtid="{D5CDD505-2E9C-101B-9397-08002B2CF9AE}" pid="5" name="GJ">
    <vt:lpwstr/>
  </property>
  <property fmtid="{D5CDD505-2E9C-101B-9397-08002B2CF9AE}" pid="6" name="_dlc_DocIdItemGuid">
    <vt:lpwstr>6f6ae8fb-3eff-4a15-8aed-1eca49a7e6f9</vt:lpwstr>
  </property>
  <property fmtid="{D5CDD505-2E9C-101B-9397-08002B2CF9AE}" pid="7" name="Inhaltsart">
    <vt:lpwstr>1;#Vorlage|f9f550ab-d043-4f5a-97bd-52764d9a66d8</vt:lpwstr>
  </property>
</Properties>
</file>